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5"/>
  </p:notesMasterIdLst>
  <p:handoutMasterIdLst>
    <p:handoutMasterId r:id="rId46"/>
  </p:handoutMasterIdLst>
  <p:sldIdLst>
    <p:sldId id="321" r:id="rId5"/>
    <p:sldId id="2145705986" r:id="rId6"/>
    <p:sldId id="304" r:id="rId7"/>
    <p:sldId id="2145705826" r:id="rId8"/>
    <p:sldId id="2145706150" r:id="rId9"/>
    <p:sldId id="2145706051" r:id="rId10"/>
    <p:sldId id="2145706052" r:id="rId11"/>
    <p:sldId id="2145706053" r:id="rId12"/>
    <p:sldId id="2145706110" r:id="rId13"/>
    <p:sldId id="2145706054" r:id="rId14"/>
    <p:sldId id="2145706132" r:id="rId15"/>
    <p:sldId id="2145706148" r:id="rId16"/>
    <p:sldId id="2145706133" r:id="rId17"/>
    <p:sldId id="2145706151" r:id="rId18"/>
    <p:sldId id="2145706055" r:id="rId19"/>
    <p:sldId id="2145706059" r:id="rId20"/>
    <p:sldId id="2145706071" r:id="rId21"/>
    <p:sldId id="2145706139" r:id="rId22"/>
    <p:sldId id="2145706140" r:id="rId23"/>
    <p:sldId id="2145706070" r:id="rId24"/>
    <p:sldId id="2145706141" r:id="rId25"/>
    <p:sldId id="2145706074" r:id="rId26"/>
    <p:sldId id="2145706143" r:id="rId27"/>
    <p:sldId id="2145706088" r:id="rId28"/>
    <p:sldId id="2145706118" r:id="rId29"/>
    <p:sldId id="2145706119" r:id="rId30"/>
    <p:sldId id="2145706142" r:id="rId31"/>
    <p:sldId id="2145706089" r:id="rId32"/>
    <p:sldId id="2145706144" r:id="rId33"/>
    <p:sldId id="2145706112" r:id="rId34"/>
    <p:sldId id="2145706145" r:id="rId35"/>
    <p:sldId id="2145706084" r:id="rId36"/>
    <p:sldId id="2145706078" r:id="rId37"/>
    <p:sldId id="2145706079" r:id="rId38"/>
    <p:sldId id="2145706146" r:id="rId39"/>
    <p:sldId id="2145706087" r:id="rId40"/>
    <p:sldId id="2145706147" r:id="rId41"/>
    <p:sldId id="2145706149" r:id="rId42"/>
    <p:sldId id="2145706138" r:id="rId43"/>
    <p:sldId id="2145705823" r:id="rId44"/>
  </p:sldIdLst>
  <p:sldSz cx="12192000" cy="6858000"/>
  <p:notesSz cx="6858000" cy="91440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53" autoAdjust="0"/>
    <p:restoredTop sz="73148" autoAdjust="0"/>
  </p:normalViewPr>
  <p:slideViewPr>
    <p:cSldViewPr snapToGrid="0">
      <p:cViewPr varScale="1">
        <p:scale>
          <a:sx n="116" d="100"/>
          <a:sy n="116" d="100"/>
        </p:scale>
        <p:origin x="3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0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0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CCA4B8-55A2-0FB1-0B6D-FC82C9E0B8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9" b="8337"/>
          <a:stretch/>
        </p:blipFill>
        <p:spPr>
          <a:xfrm>
            <a:off x="1941147" y="549000"/>
            <a:ext cx="8098049" cy="60730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146613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" b="47477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2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74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2" r="6302"/>
          <a:stretch/>
        </p:blipFill>
        <p:spPr>
          <a:xfrm>
            <a:off x="370702" y="836714"/>
            <a:ext cx="4943614" cy="5662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7479" y="836713"/>
            <a:ext cx="4697129" cy="586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68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Dash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0AD6CB-F2FB-C3FD-CDF1-8C4F1DC160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3990" y="841267"/>
            <a:ext cx="8564019" cy="5876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6502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Video Call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00" t="6221" r="9445" b="34946"/>
          <a:stretch/>
        </p:blipFill>
        <p:spPr>
          <a:xfrm>
            <a:off x="145992" y="1202723"/>
            <a:ext cx="4539050" cy="500983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7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6" t="64530" r="9072" b="4826"/>
          <a:stretch/>
        </p:blipFill>
        <p:spPr>
          <a:xfrm>
            <a:off x="80956" y="1905860"/>
            <a:ext cx="4696990" cy="304627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7132AD-F8D3-D92E-9A61-D22CA86C28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4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ao Ly  |  </a:t>
            </a:r>
            <a:r>
              <a:rPr lang="en-US" dirty="0"/>
              <a:t>20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MentorHub</a:t>
            </a:r>
            <a:br>
              <a:rPr lang="en-US" dirty="0"/>
            </a:br>
            <a:r>
              <a:rPr lang="en-US" sz="4000" dirty="0"/>
              <a:t>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1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D305CD-B82C-D066-FC2B-5C44392D3A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58" r="8370"/>
          <a:stretch/>
        </p:blipFill>
        <p:spPr>
          <a:xfrm>
            <a:off x="292318" y="804334"/>
            <a:ext cx="5254991" cy="608693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7310" y="1714818"/>
            <a:ext cx="6352371" cy="397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7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3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61C93D-DCE7-2278-7957-C4F3A061CF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4236" r="14286" b="14460"/>
          <a:stretch/>
        </p:blipFill>
        <p:spPr>
          <a:xfrm>
            <a:off x="431999" y="1218324"/>
            <a:ext cx="4390768" cy="44213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7210" y="1211368"/>
            <a:ext cx="6892774" cy="430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6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9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0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1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5695A2-0032-31BD-E0FB-20694A66E2F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40" t="15542" r="9715" b="12962"/>
          <a:stretch/>
        </p:blipFill>
        <p:spPr>
          <a:xfrm>
            <a:off x="18032" y="1843215"/>
            <a:ext cx="5273967" cy="317156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91999" y="1304821"/>
            <a:ext cx="6797372" cy="4248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6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43561A1-2EA0-87D2-D579-44BBF4807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Design – Manage ticket</a:t>
            </a:r>
          </a:p>
        </p:txBody>
      </p:sp>
    </p:spTree>
    <p:extLst>
      <p:ext uri="{BB962C8B-B14F-4D97-AF65-F5344CB8AC3E}">
        <p14:creationId xmlns:p14="http://schemas.microsoft.com/office/powerpoint/2010/main" val="33320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9582E0-A35B-7334-1411-7359454A17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3" r="9463"/>
          <a:stretch/>
        </p:blipFill>
        <p:spPr>
          <a:xfrm>
            <a:off x="0" y="977214"/>
            <a:ext cx="4703272" cy="516821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anage Ticke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2045" y="1303840"/>
            <a:ext cx="7323113" cy="4576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99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Overview</a:t>
            </a:r>
          </a:p>
          <a:p>
            <a:r>
              <a:rPr lang="en-GB" noProof="0" dirty="0"/>
              <a:t>Use Case Diagram</a:t>
            </a:r>
          </a:p>
          <a:p>
            <a:r>
              <a:rPr lang="en-GB" dirty="0"/>
              <a:t>UI Design – Database Entity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0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AB42BC-1E28-252C-B9F8-7D1B8A5E85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9" t="12480" r="9416" b="11258"/>
          <a:stretch/>
        </p:blipFill>
        <p:spPr>
          <a:xfrm>
            <a:off x="54491" y="1303946"/>
            <a:ext cx="5312014" cy="421540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2860" y="1303946"/>
            <a:ext cx="6744649" cy="421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03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3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2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3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65810" y="1394457"/>
            <a:ext cx="6510537" cy="40690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2239E20-52FA-B007-47B3-FC2B59E8E3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1" t="13845" r="13315" b="13927"/>
          <a:stretch/>
        </p:blipFill>
        <p:spPr>
          <a:xfrm>
            <a:off x="524932" y="1189681"/>
            <a:ext cx="4419601" cy="4478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36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5C5B44-3CC6-BF5B-EEC7-04CF9D2927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5047" r="13619" b="14828"/>
          <a:stretch/>
        </p:blipFill>
        <p:spPr>
          <a:xfrm>
            <a:off x="234291" y="1357386"/>
            <a:ext cx="4745888" cy="42342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0179" y="1146235"/>
            <a:ext cx="7112642" cy="444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86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QUESTIONS AND ANSW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944E51-778C-CA0B-328C-664D550EC84B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1913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ANK YOU FOR YOUR TIME</a:t>
            </a:r>
          </a:p>
        </p:txBody>
      </p:sp>
    </p:spTree>
    <p:extLst>
      <p:ext uri="{BB962C8B-B14F-4D97-AF65-F5344CB8AC3E}">
        <p14:creationId xmlns:p14="http://schemas.microsoft.com/office/powerpoint/2010/main" val="189076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1FFB68-BCC0-0244-6B26-9565581DD2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287" y="1300162"/>
            <a:ext cx="9877425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AF3297-857E-D1B7-9B0C-20458DE6E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0" y="1304925"/>
            <a:ext cx="8610600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3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C64765-97E0-B5E7-D159-ABA9FEA896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428" y="858863"/>
            <a:ext cx="10347142" cy="570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F6292C-6B69-4489-A94A-93567ADA6F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9792" y="703873"/>
            <a:ext cx="6912415" cy="58991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361424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85D075-85DB-8785-8F1A-450FC842C4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7" b="4747"/>
          <a:stretch/>
        </p:blipFill>
        <p:spPr>
          <a:xfrm>
            <a:off x="2973267" y="1"/>
            <a:ext cx="4637464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Case Dia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7830684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40220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F68F76-0312-AB4E-7AD9-3342CE7F12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1" b="4591"/>
          <a:stretch/>
        </p:blipFill>
        <p:spPr>
          <a:xfrm>
            <a:off x="2840952" y="1"/>
            <a:ext cx="6510095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84768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0F42E2-0E6A-4852-8EA1-9F7D6F366003}">
  <ds:schemaRefs>
    <ds:schemaRef ds:uri="http://purl.org/dc/terms/"/>
    <ds:schemaRef ds:uri="http://purl.org/dc/dcmitype/"/>
    <ds:schemaRef ds:uri="680405e6-b67e-4188-afe9-1f6c4cc802d0"/>
    <ds:schemaRef ds:uri="5a0a5fd8-e554-4dec-ae9e-1a78583e7e41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910</TotalTime>
  <Words>191</Words>
  <Application>Microsoft Office PowerPoint</Application>
  <PresentationFormat>Widescreen</PresentationFormat>
  <Paragraphs>56</Paragraphs>
  <Slides>4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4" baseType="lpstr">
      <vt:lpstr>Arial</vt:lpstr>
      <vt:lpstr>Calibri</vt:lpstr>
      <vt:lpstr>bbv template EN</vt:lpstr>
      <vt:lpstr>think-cell Slide</vt:lpstr>
      <vt:lpstr>PowerPoint Presentation</vt:lpstr>
      <vt:lpstr>Project MentorHub Communication Subsystem</vt:lpstr>
      <vt:lpstr>Agenda</vt:lpstr>
      <vt:lpstr>Overview – Mentor Hub</vt:lpstr>
      <vt:lpstr>Overview – Mentor Hub</vt:lpstr>
      <vt:lpstr>Overview – Communication Subsystem</vt:lpstr>
      <vt:lpstr>Overview – Communication Subsystem</vt:lpstr>
      <vt:lpstr>Use Case Diagram</vt:lpstr>
      <vt:lpstr>Use Case Diagram</vt:lpstr>
      <vt:lpstr>Use Case Diagram</vt:lpstr>
      <vt:lpstr>UI Design – Dashboard</vt:lpstr>
      <vt:lpstr>UI Design – Dashboard</vt:lpstr>
      <vt:lpstr>Database Entity – Dashboard</vt:lpstr>
      <vt:lpstr>Database Design – Dashboard</vt:lpstr>
      <vt:lpstr>UI Design – Home</vt:lpstr>
      <vt:lpstr>UI Design – Home</vt:lpstr>
      <vt:lpstr>UI Design – Video Call</vt:lpstr>
      <vt:lpstr>Database Entity – Home</vt:lpstr>
      <vt:lpstr>Database Entity – Home</vt:lpstr>
      <vt:lpstr>UI Design – Direct Messages</vt:lpstr>
      <vt:lpstr>Database Entity – Direct Messages</vt:lpstr>
      <vt:lpstr>UI Design – Meeting</vt:lpstr>
      <vt:lpstr>Database Entity – Meeting</vt:lpstr>
      <vt:lpstr>UI Design – Files</vt:lpstr>
      <vt:lpstr>UI Design – Files</vt:lpstr>
      <vt:lpstr>UI Design – Files</vt:lpstr>
      <vt:lpstr>Database Entity – Files</vt:lpstr>
      <vt:lpstr>UI Design – Manage ticket</vt:lpstr>
      <vt:lpstr>Database Entity – Manage Ticket</vt:lpstr>
      <vt:lpstr>UI Design – Preferences</vt:lpstr>
      <vt:lpstr>Database Entity – Preferences</vt:lpstr>
      <vt:lpstr>UI Design – Calendar</vt:lpstr>
      <vt:lpstr>UI Design – Calendar</vt:lpstr>
      <vt:lpstr>UI Design – Calendar</vt:lpstr>
      <vt:lpstr>Database Entity – Calendar</vt:lpstr>
      <vt:lpstr>UI Design – Activity </vt:lpstr>
      <vt:lpstr>Database Entity – Activity </vt:lpstr>
      <vt:lpstr>QUESTIONS AND ANSWERS</vt:lpstr>
      <vt:lpstr>THANK YOU FOR YOUR TI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y Bao</cp:lastModifiedBy>
  <cp:revision>33</cp:revision>
  <dcterms:created xsi:type="dcterms:W3CDTF">2023-03-02T06:20:39Z</dcterms:created>
  <dcterms:modified xsi:type="dcterms:W3CDTF">2024-06-20T09:1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